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12"/>
  </p:notesMasterIdLst>
  <p:sldIdLst>
    <p:sldId id="256" r:id="rId2"/>
    <p:sldId id="266" r:id="rId3"/>
    <p:sldId id="265" r:id="rId4"/>
    <p:sldId id="268" r:id="rId5"/>
    <p:sldId id="269" r:id="rId6"/>
    <p:sldId id="270" r:id="rId7"/>
    <p:sldId id="271" r:id="rId8"/>
    <p:sldId id="272" r:id="rId9"/>
    <p:sldId id="263" r:id="rId10"/>
    <p:sldId id="264" r:id="rId11"/>
  </p:sldIdLst>
  <p:sldSz cx="9144000" cy="6858000" type="screen4x3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99"/>
    <a:srgbClr val="FFFFCC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Objects="1">
      <p:cViewPr>
        <p:scale>
          <a:sx n="76" d="100"/>
          <a:sy n="76" d="100"/>
        </p:scale>
        <p:origin x="-978" y="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6" d="100"/>
          <a:sy n="66" d="100"/>
        </p:scale>
        <p:origin x="-3154" y="-6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C36999-A7A9-4F27-ACA9-6A1B67A177B5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B5F06AB2-9A31-4B11-9025-177835EF7A49}">
      <dgm:prSet phldrT="[Text]"/>
      <dgm:spPr/>
      <dgm:t>
        <a:bodyPr/>
        <a:lstStyle/>
        <a:p>
          <a:r>
            <a:rPr lang="en-US" b="1" dirty="0" smtClean="0"/>
            <a:t>Board &amp; management</a:t>
          </a:r>
          <a:endParaRPr lang="en-US" b="1" dirty="0"/>
        </a:p>
      </dgm:t>
    </dgm:pt>
    <dgm:pt modelId="{0C58B585-7392-4925-A5E1-28975FF9B499}" type="parTrans" cxnId="{F461D918-7C36-4DC3-9948-A206E1794100}">
      <dgm:prSet/>
      <dgm:spPr/>
      <dgm:t>
        <a:bodyPr/>
        <a:lstStyle/>
        <a:p>
          <a:endParaRPr lang="en-US" b="1"/>
        </a:p>
      </dgm:t>
    </dgm:pt>
    <dgm:pt modelId="{0A31A43E-2BC3-421A-808E-20A633BECA53}" type="sibTrans" cxnId="{F461D918-7C36-4DC3-9948-A206E1794100}">
      <dgm:prSet/>
      <dgm:spPr/>
      <dgm:t>
        <a:bodyPr/>
        <a:lstStyle/>
        <a:p>
          <a:endParaRPr lang="en-US" b="1"/>
        </a:p>
      </dgm:t>
    </dgm:pt>
    <dgm:pt modelId="{6F53D46E-7FB3-46CD-A7CE-3BF356E33866}">
      <dgm:prSet phldrT="[Text]"/>
      <dgm:spPr>
        <a:solidFill>
          <a:schemeClr val="accent3">
            <a:lumMod val="40000"/>
            <a:lumOff val="60000"/>
            <a:alpha val="50000"/>
          </a:schemeClr>
        </a:solidFill>
      </dgm:spPr>
      <dgm:t>
        <a:bodyPr/>
        <a:lstStyle/>
        <a:p>
          <a:r>
            <a:rPr lang="en-US" b="1" dirty="0" smtClean="0"/>
            <a:t>Enterprise's stakeholders</a:t>
          </a:r>
          <a:endParaRPr lang="en-US" b="1" dirty="0"/>
        </a:p>
      </dgm:t>
    </dgm:pt>
    <dgm:pt modelId="{583AE2A2-5A60-4900-96D6-25DC58F2F398}" type="parTrans" cxnId="{ADCA1562-590A-475E-9823-BCEC5514B663}">
      <dgm:prSet/>
      <dgm:spPr/>
      <dgm:t>
        <a:bodyPr/>
        <a:lstStyle/>
        <a:p>
          <a:endParaRPr lang="en-US" b="1"/>
        </a:p>
      </dgm:t>
    </dgm:pt>
    <dgm:pt modelId="{DA001F1F-D7B3-4CEC-AEAB-B62945656E4C}" type="sibTrans" cxnId="{ADCA1562-590A-475E-9823-BCEC5514B663}">
      <dgm:prSet/>
      <dgm:spPr/>
      <dgm:t>
        <a:bodyPr/>
        <a:lstStyle/>
        <a:p>
          <a:endParaRPr lang="en-US" b="1"/>
        </a:p>
      </dgm:t>
    </dgm:pt>
    <dgm:pt modelId="{AA299C82-860F-47A3-8EDB-8AE26720922D}">
      <dgm:prSet phldrT="[Text]"/>
      <dgm:spPr/>
      <dgm:t>
        <a:bodyPr/>
        <a:lstStyle/>
        <a:p>
          <a:r>
            <a:rPr lang="en-US" b="1" dirty="0" smtClean="0"/>
            <a:t>Regulator</a:t>
          </a:r>
          <a:endParaRPr lang="en-US" b="1" dirty="0"/>
        </a:p>
      </dgm:t>
    </dgm:pt>
    <dgm:pt modelId="{370E54C0-E46C-4106-AB1A-C959A0AC13F2}" type="parTrans" cxnId="{FAA3D47F-F7A2-4A7F-BF72-84C396CCBD9C}">
      <dgm:prSet/>
      <dgm:spPr/>
      <dgm:t>
        <a:bodyPr/>
        <a:lstStyle/>
        <a:p>
          <a:endParaRPr lang="en-US" b="1"/>
        </a:p>
      </dgm:t>
    </dgm:pt>
    <dgm:pt modelId="{3B8BFE8C-5198-4E56-B29F-C395C3A2360F}" type="sibTrans" cxnId="{FAA3D47F-F7A2-4A7F-BF72-84C396CCBD9C}">
      <dgm:prSet/>
      <dgm:spPr/>
      <dgm:t>
        <a:bodyPr/>
        <a:lstStyle/>
        <a:p>
          <a:endParaRPr lang="en-US" b="1"/>
        </a:p>
      </dgm:t>
    </dgm:pt>
    <dgm:pt modelId="{3815EDDB-B26D-44C0-BFEE-C80D7D5D85A8}" type="pres">
      <dgm:prSet presAssocID="{8CC36999-A7A9-4F27-ACA9-6A1B67A177B5}" presName="compositeShape" presStyleCnt="0">
        <dgm:presLayoutVars>
          <dgm:chMax val="7"/>
          <dgm:dir/>
          <dgm:resizeHandles val="exact"/>
        </dgm:presLayoutVars>
      </dgm:prSet>
      <dgm:spPr/>
    </dgm:pt>
    <dgm:pt modelId="{66612859-F328-45A4-B514-CD3522D58AD6}" type="pres">
      <dgm:prSet presAssocID="{B5F06AB2-9A31-4B11-9025-177835EF7A49}" presName="circ1" presStyleLbl="vennNode1" presStyleIdx="0" presStyleCnt="3"/>
      <dgm:spPr/>
      <dgm:t>
        <a:bodyPr/>
        <a:lstStyle/>
        <a:p>
          <a:endParaRPr lang="en-IN"/>
        </a:p>
      </dgm:t>
    </dgm:pt>
    <dgm:pt modelId="{06C7B846-045E-4187-815C-62F54A0784FC}" type="pres">
      <dgm:prSet presAssocID="{B5F06AB2-9A31-4B11-9025-177835EF7A49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A4C4B0A-430A-4D77-A58B-355B9CCA3259}" type="pres">
      <dgm:prSet presAssocID="{6F53D46E-7FB3-46CD-A7CE-3BF356E33866}" presName="circ2" presStyleLbl="vennNode1" presStyleIdx="1" presStyleCnt="3"/>
      <dgm:spPr/>
      <dgm:t>
        <a:bodyPr/>
        <a:lstStyle/>
        <a:p>
          <a:endParaRPr lang="en-US"/>
        </a:p>
      </dgm:t>
    </dgm:pt>
    <dgm:pt modelId="{4BFA5B8E-04BA-4EDE-80F7-E25227F42263}" type="pres">
      <dgm:prSet presAssocID="{6F53D46E-7FB3-46CD-A7CE-3BF356E33866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AB6702-408A-40AF-89ED-5FAB501F1A8D}" type="pres">
      <dgm:prSet presAssocID="{AA299C82-860F-47A3-8EDB-8AE26720922D}" presName="circ3" presStyleLbl="vennNode1" presStyleIdx="2" presStyleCnt="3"/>
      <dgm:spPr/>
      <dgm:t>
        <a:bodyPr/>
        <a:lstStyle/>
        <a:p>
          <a:endParaRPr lang="en-IN"/>
        </a:p>
      </dgm:t>
    </dgm:pt>
    <dgm:pt modelId="{8CC0909C-84F0-420E-A11C-F4DF903337F6}" type="pres">
      <dgm:prSet presAssocID="{AA299C82-860F-47A3-8EDB-8AE26720922D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8C536D8C-DED9-4BAD-90CC-3E2CC2C732F0}" type="presOf" srcId="{8CC36999-A7A9-4F27-ACA9-6A1B67A177B5}" destId="{3815EDDB-B26D-44C0-BFEE-C80D7D5D85A8}" srcOrd="0" destOrd="0" presId="urn:microsoft.com/office/officeart/2005/8/layout/venn1"/>
    <dgm:cxn modelId="{ADCA1562-590A-475E-9823-BCEC5514B663}" srcId="{8CC36999-A7A9-4F27-ACA9-6A1B67A177B5}" destId="{6F53D46E-7FB3-46CD-A7CE-3BF356E33866}" srcOrd="1" destOrd="0" parTransId="{583AE2A2-5A60-4900-96D6-25DC58F2F398}" sibTransId="{DA001F1F-D7B3-4CEC-AEAB-B62945656E4C}"/>
    <dgm:cxn modelId="{F461D918-7C36-4DC3-9948-A206E1794100}" srcId="{8CC36999-A7A9-4F27-ACA9-6A1B67A177B5}" destId="{B5F06AB2-9A31-4B11-9025-177835EF7A49}" srcOrd="0" destOrd="0" parTransId="{0C58B585-7392-4925-A5E1-28975FF9B499}" sibTransId="{0A31A43E-2BC3-421A-808E-20A633BECA53}"/>
    <dgm:cxn modelId="{A1566038-AF7C-4F8F-A5E7-B1616DBB5BFE}" type="presOf" srcId="{AA299C82-860F-47A3-8EDB-8AE26720922D}" destId="{8CC0909C-84F0-420E-A11C-F4DF903337F6}" srcOrd="1" destOrd="0" presId="urn:microsoft.com/office/officeart/2005/8/layout/venn1"/>
    <dgm:cxn modelId="{759430A2-5F64-4D95-8981-3F645F1C8F81}" type="presOf" srcId="{6F53D46E-7FB3-46CD-A7CE-3BF356E33866}" destId="{4BFA5B8E-04BA-4EDE-80F7-E25227F42263}" srcOrd="1" destOrd="0" presId="urn:microsoft.com/office/officeart/2005/8/layout/venn1"/>
    <dgm:cxn modelId="{61A2417F-C681-4711-8E4E-B4CF49D6C13D}" type="presOf" srcId="{6F53D46E-7FB3-46CD-A7CE-3BF356E33866}" destId="{4A4C4B0A-430A-4D77-A58B-355B9CCA3259}" srcOrd="0" destOrd="0" presId="urn:microsoft.com/office/officeart/2005/8/layout/venn1"/>
    <dgm:cxn modelId="{FAA3D47F-F7A2-4A7F-BF72-84C396CCBD9C}" srcId="{8CC36999-A7A9-4F27-ACA9-6A1B67A177B5}" destId="{AA299C82-860F-47A3-8EDB-8AE26720922D}" srcOrd="2" destOrd="0" parTransId="{370E54C0-E46C-4106-AB1A-C959A0AC13F2}" sibTransId="{3B8BFE8C-5198-4E56-B29F-C395C3A2360F}"/>
    <dgm:cxn modelId="{DE93E4F1-D7CD-429A-B995-5BE126953E0F}" type="presOf" srcId="{B5F06AB2-9A31-4B11-9025-177835EF7A49}" destId="{06C7B846-045E-4187-815C-62F54A0784FC}" srcOrd="1" destOrd="0" presId="urn:microsoft.com/office/officeart/2005/8/layout/venn1"/>
    <dgm:cxn modelId="{1756A9E7-981B-439B-99B6-E2B7403144AC}" type="presOf" srcId="{AA299C82-860F-47A3-8EDB-8AE26720922D}" destId="{C9AB6702-408A-40AF-89ED-5FAB501F1A8D}" srcOrd="0" destOrd="0" presId="urn:microsoft.com/office/officeart/2005/8/layout/venn1"/>
    <dgm:cxn modelId="{250A55F3-5C42-48C1-9AF4-8FD0A02CCE5D}" type="presOf" srcId="{B5F06AB2-9A31-4B11-9025-177835EF7A49}" destId="{66612859-F328-45A4-B514-CD3522D58AD6}" srcOrd="0" destOrd="0" presId="urn:microsoft.com/office/officeart/2005/8/layout/venn1"/>
    <dgm:cxn modelId="{265510A7-4E33-4634-B517-EB78F22313AB}" type="presParOf" srcId="{3815EDDB-B26D-44C0-BFEE-C80D7D5D85A8}" destId="{66612859-F328-45A4-B514-CD3522D58AD6}" srcOrd="0" destOrd="0" presId="urn:microsoft.com/office/officeart/2005/8/layout/venn1"/>
    <dgm:cxn modelId="{ECAF1890-D153-48F9-A891-A287DAC286D8}" type="presParOf" srcId="{3815EDDB-B26D-44C0-BFEE-C80D7D5D85A8}" destId="{06C7B846-045E-4187-815C-62F54A0784FC}" srcOrd="1" destOrd="0" presId="urn:microsoft.com/office/officeart/2005/8/layout/venn1"/>
    <dgm:cxn modelId="{125CC766-3832-48EA-A6C5-F8B3A0682947}" type="presParOf" srcId="{3815EDDB-B26D-44C0-BFEE-C80D7D5D85A8}" destId="{4A4C4B0A-430A-4D77-A58B-355B9CCA3259}" srcOrd="2" destOrd="0" presId="urn:microsoft.com/office/officeart/2005/8/layout/venn1"/>
    <dgm:cxn modelId="{FAE863DB-2D7D-4878-8F9B-20C89CFC1AF5}" type="presParOf" srcId="{3815EDDB-B26D-44C0-BFEE-C80D7D5D85A8}" destId="{4BFA5B8E-04BA-4EDE-80F7-E25227F42263}" srcOrd="3" destOrd="0" presId="urn:microsoft.com/office/officeart/2005/8/layout/venn1"/>
    <dgm:cxn modelId="{D167E962-882E-48A3-872F-5C505BF2F2DC}" type="presParOf" srcId="{3815EDDB-B26D-44C0-BFEE-C80D7D5D85A8}" destId="{C9AB6702-408A-40AF-89ED-5FAB501F1A8D}" srcOrd="4" destOrd="0" presId="urn:microsoft.com/office/officeart/2005/8/layout/venn1"/>
    <dgm:cxn modelId="{B1D52842-3F4A-4DAF-8461-FCBA79BED4C9}" type="presParOf" srcId="{3815EDDB-B26D-44C0-BFEE-C80D7D5D85A8}" destId="{8CC0909C-84F0-420E-A11C-F4DF903337F6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612859-F328-45A4-B514-CD3522D58AD6}">
      <dsp:nvSpPr>
        <dsp:cNvPr id="0" name=""/>
        <dsp:cNvSpPr/>
      </dsp:nvSpPr>
      <dsp:spPr>
        <a:xfrm>
          <a:off x="1404155" y="49505"/>
          <a:ext cx="2376264" cy="2376264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Board &amp; management</a:t>
          </a:r>
          <a:endParaRPr lang="en-US" sz="2100" b="1" kern="1200" dirty="0"/>
        </a:p>
      </dsp:txBody>
      <dsp:txXfrm>
        <a:off x="1720991" y="465351"/>
        <a:ext cx="1742593" cy="1069318"/>
      </dsp:txXfrm>
    </dsp:sp>
    <dsp:sp modelId="{4A4C4B0A-430A-4D77-A58B-355B9CCA3259}">
      <dsp:nvSpPr>
        <dsp:cNvPr id="0" name=""/>
        <dsp:cNvSpPr/>
      </dsp:nvSpPr>
      <dsp:spPr>
        <a:xfrm>
          <a:off x="2261591" y="1534670"/>
          <a:ext cx="2376264" cy="2376264"/>
        </a:xfrm>
        <a:prstGeom prst="ellipse">
          <a:avLst/>
        </a:prstGeom>
        <a:solidFill>
          <a:schemeClr val="accent3">
            <a:lumMod val="40000"/>
            <a:lumOff val="60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Enterprise's stakeholders</a:t>
          </a:r>
          <a:endParaRPr lang="en-US" sz="2100" b="1" kern="1200" dirty="0"/>
        </a:p>
      </dsp:txBody>
      <dsp:txXfrm>
        <a:off x="2988332" y="2148538"/>
        <a:ext cx="1425758" cy="1306945"/>
      </dsp:txXfrm>
    </dsp:sp>
    <dsp:sp modelId="{C9AB6702-408A-40AF-89ED-5FAB501F1A8D}">
      <dsp:nvSpPr>
        <dsp:cNvPr id="0" name=""/>
        <dsp:cNvSpPr/>
      </dsp:nvSpPr>
      <dsp:spPr>
        <a:xfrm>
          <a:off x="546720" y="1534670"/>
          <a:ext cx="2376264" cy="2376264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Regulator</a:t>
          </a:r>
          <a:endParaRPr lang="en-US" sz="2100" b="1" kern="1200" dirty="0"/>
        </a:p>
      </dsp:txBody>
      <dsp:txXfrm>
        <a:off x="770485" y="2148538"/>
        <a:ext cx="1425758" cy="13069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C816EA-016B-4A44-8867-5B1FECB779C6}" type="datetimeFigureOut">
              <a:rPr lang="en-US" smtClean="0"/>
              <a:pPr/>
              <a:t>8/31/2018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430008-1913-4122-9CEC-753263CDE6B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35680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407988"/>
            <a:ext cx="5999162" cy="45005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94082" y="5436078"/>
            <a:ext cx="5005085" cy="3600000"/>
          </a:xfrm>
        </p:spPr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30008-1913-4122-9CEC-753263CDE6BB}" type="slidenum">
              <a:rPr lang="en-IN" smtClean="0"/>
              <a:pPr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9042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744538"/>
            <a:ext cx="6000750" cy="45005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30008-1913-4122-9CEC-753263CDE6BB}" type="slidenum">
              <a:rPr lang="en-IN" smtClean="0"/>
              <a:pPr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24558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744538"/>
            <a:ext cx="6000750" cy="45005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30008-1913-4122-9CEC-753263CDE6BB}" type="slidenum">
              <a:rPr lang="en-IN" smtClean="0"/>
              <a:pPr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86310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3ADD80-3D12-497D-B84C-C286B182D2AF}" type="datetime1">
              <a:rPr lang="en-US" smtClean="0"/>
              <a:t>8/31/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3CBB-688B-4018-93E5-27AFFC4A7EF6}" type="datetime1">
              <a:rPr lang="en-US" smtClean="0"/>
              <a:t>8/31/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5C965-A100-411E-9BE6-FFE49D4624FA}" type="datetime1">
              <a:rPr lang="en-US" smtClean="0"/>
              <a:t>8/31/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06CD4-A060-439E-ACC5-97AEE6C7F764}" type="datetime1">
              <a:rPr lang="en-US" smtClean="0"/>
              <a:t>8/31/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7C5066-D29E-47A1-8955-73DF51591984}" type="datetime1">
              <a:rPr lang="en-US" smtClean="0"/>
              <a:t>8/31/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F9FCA-ECE3-4F6D-865D-7B8F2EEA0F0C}" type="datetime1">
              <a:rPr lang="en-US" smtClean="0"/>
              <a:t>8/31/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B2129-BF69-4F33-AD4F-0EC27031B811}" type="datetime1">
              <a:rPr lang="en-US" smtClean="0"/>
              <a:t>8/31/2018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F39069-745F-4232-8C50-7A1EF830CF62}" type="datetime1">
              <a:rPr lang="en-US" smtClean="0"/>
              <a:t>8/31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52F75-C541-4F6D-8AD5-6EA88C433242}" type="datetime1">
              <a:rPr lang="en-US" smtClean="0"/>
              <a:t>8/31/2018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CF353-4197-4C08-B297-06417F56D652}" type="datetime1">
              <a:rPr lang="en-US" smtClean="0"/>
              <a:t>8/31/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80C48-7161-4FB2-877E-B724793EAA9E}" type="datetime1">
              <a:rPr lang="en-US" smtClean="0"/>
              <a:t>8/31/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DB4E8EC-C469-498D-B7E7-7BB56F3A2607}" type="datetime1">
              <a:rPr lang="en-US" smtClean="0"/>
              <a:t>8/31/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5308DA4-85A3-4F6D-BCC4-A776B2A7B8DD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diagramData" Target="../diagrams/data1.xml"/><Relationship Id="rId5" Type="http://schemas.openxmlformats.org/officeDocument/2006/relationships/image" Target="../media/image2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_03-06.png"/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lum bright="40000" contrast="-10000"/>
          </a:blip>
          <a:srcRect t="9730" b="21789"/>
          <a:stretch>
            <a:fillRect/>
          </a:stretch>
        </p:blipFill>
        <p:spPr>
          <a:xfrm>
            <a:off x="6258431" y="4564129"/>
            <a:ext cx="2993858" cy="2050221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7" name="Subtitle 5"/>
          <p:cNvSpPr txBox="1">
            <a:spLocks/>
          </p:cNvSpPr>
          <p:nvPr/>
        </p:nvSpPr>
        <p:spPr>
          <a:xfrm>
            <a:off x="611560" y="2492896"/>
            <a:ext cx="7143800" cy="1752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IN" sz="32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RASSROOTS TO GLOBAL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IN" sz="3200" b="1" dirty="0" smtClean="0">
              <a:latin typeface="Arial" pitchFamily="34" charset="0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IN" sz="3200" b="1" dirty="0" smtClean="0">
                <a:latin typeface="Arial" pitchFamily="34" charset="0"/>
                <a:cs typeface="Arial" pitchFamily="34" charset="0"/>
              </a:rPr>
              <a:t>EXPECTATION OF STAKEHOLDERS FROM COMPANY SECRETARY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IN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1560" y="5589240"/>
            <a:ext cx="2520242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IN" sz="2800" dirty="0" smtClean="0">
                <a:latin typeface="Arial" pitchFamily="34" charset="0"/>
                <a:cs typeface="Arial" pitchFamily="34" charset="0"/>
              </a:rPr>
              <a:t>By Ravi Kastia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1</a:t>
            </a:fld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29806" y="3806517"/>
            <a:ext cx="3346649" cy="1362075"/>
          </a:xfrm>
        </p:spPr>
        <p:txBody>
          <a:bodyPr/>
          <a:lstStyle/>
          <a:p>
            <a:r>
              <a:rPr lang="en-IN" dirty="0" smtClean="0">
                <a:solidFill>
                  <a:schemeClr val="tx2"/>
                </a:solidFill>
              </a:rPr>
              <a:t>Thank YOU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04056" y="5097165"/>
            <a:ext cx="7772400" cy="1500187"/>
          </a:xfrm>
        </p:spPr>
        <p:txBody>
          <a:bodyPr/>
          <a:lstStyle/>
          <a:p>
            <a:pPr algn="r"/>
            <a:r>
              <a:rPr lang="en-IN" dirty="0" smtClean="0"/>
              <a:t>Ravi </a:t>
            </a:r>
            <a:r>
              <a:rPr lang="en-IN" dirty="0" err="1" smtClean="0"/>
              <a:t>Kastia</a:t>
            </a:r>
            <a:endParaRPr lang="en-IN" dirty="0" smtClean="0"/>
          </a:p>
          <a:p>
            <a:pPr algn="r"/>
            <a:r>
              <a:rPr lang="en-IN" dirty="0" smtClean="0"/>
              <a:t>RJK Business Advisory</a:t>
            </a:r>
          </a:p>
          <a:p>
            <a:pPr algn="r"/>
            <a:r>
              <a:rPr lang="en-IN" dirty="0" smtClean="0"/>
              <a:t>Mumbai</a:t>
            </a:r>
          </a:p>
          <a:p>
            <a:pPr algn="r"/>
            <a:r>
              <a:rPr lang="en-IN" dirty="0" smtClean="0"/>
              <a:t>ravi.kastia@hotmail.com</a:t>
            </a:r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385290" y="661017"/>
            <a:ext cx="82911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"... with great power comes great responsibility ..."</a:t>
            </a:r>
            <a:endParaRPr lang="en-IN" sz="40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10</a:t>
            </a:fld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395536" y="2344812"/>
            <a:ext cx="365466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 is changing rapidly</a:t>
            </a:r>
            <a:endParaRPr lang="en-US" sz="4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148064" y="1556792"/>
            <a:ext cx="365466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en-US" sz="40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atile</a:t>
            </a:r>
            <a:endParaRPr lang="en-US" sz="4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4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en-US" sz="4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certain</a:t>
            </a:r>
          </a:p>
          <a:p>
            <a:pPr>
              <a:lnSpc>
                <a:spcPct val="150000"/>
              </a:lnSpc>
            </a:pPr>
            <a:r>
              <a:rPr lang="en-US" sz="4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4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plex</a:t>
            </a:r>
          </a:p>
          <a:p>
            <a:pPr>
              <a:lnSpc>
                <a:spcPct val="150000"/>
              </a:lnSpc>
            </a:pPr>
            <a:r>
              <a:rPr lang="en-US" sz="4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4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biguous</a:t>
            </a:r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82674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b="1" dirty="0" smtClean="0"/>
              <a:t>Our role is evolving</a:t>
            </a:r>
            <a:endParaRPr lang="en-US" b="1" dirty="0"/>
          </a:p>
        </p:txBody>
      </p:sp>
      <p:sp>
        <p:nvSpPr>
          <p:cNvPr id="14" name="ee4pHeader1"/>
          <p:cNvSpPr txBox="1"/>
          <p:nvPr/>
        </p:nvSpPr>
        <p:spPr>
          <a:xfrm>
            <a:off x="629398" y="2763868"/>
            <a:ext cx="2224256" cy="1224136"/>
          </a:xfrm>
          <a:prstGeom prst="roundRect">
            <a:avLst/>
          </a:prstGeom>
          <a:solidFill>
            <a:schemeClr val="tx2"/>
          </a:solidFill>
          <a:ln cap="rnd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marL="0" lvl="3" algn="ctr"/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oning</a:t>
            </a:r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ee4pHeader2"/>
          <p:cNvSpPr txBox="1"/>
          <p:nvPr/>
        </p:nvSpPr>
        <p:spPr>
          <a:xfrm>
            <a:off x="3396783" y="2780928"/>
            <a:ext cx="2224256" cy="1224136"/>
          </a:xfrm>
          <a:prstGeom prst="roundRect">
            <a:avLst/>
          </a:prstGeom>
          <a:solidFill>
            <a:schemeClr val="tx2"/>
          </a:solidFill>
          <a:ln cap="rnd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marL="0" lvl="3" algn="ctr"/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sure</a:t>
            </a:r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ee4pHeader3"/>
          <p:cNvSpPr txBox="1"/>
          <p:nvPr/>
        </p:nvSpPr>
        <p:spPr>
          <a:xfrm>
            <a:off x="6164168" y="2780928"/>
            <a:ext cx="2224256" cy="1224136"/>
          </a:xfrm>
          <a:prstGeom prst="roundRect">
            <a:avLst/>
          </a:prstGeom>
          <a:solidFill>
            <a:schemeClr val="tx2"/>
          </a:solidFill>
          <a:ln cap="rnd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marL="0" lvl="3" algn="ctr"/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</a:t>
            </a:r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979712" y="5642084"/>
            <a:ext cx="54726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k big and make it happen !</a:t>
            </a:r>
            <a:endParaRPr lang="en-US" sz="28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14253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9565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entagon 5"/>
          <p:cNvSpPr/>
          <p:nvPr/>
        </p:nvSpPr>
        <p:spPr>
          <a:xfrm>
            <a:off x="0" y="0"/>
            <a:ext cx="5148064" cy="6858000"/>
          </a:xfrm>
          <a:prstGeom prst="homePlate">
            <a:avLst>
              <a:gd name="adj" fmla="val 1505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414370192"/>
              </p:ext>
            </p:extLst>
          </p:nvPr>
        </p:nvGraphicFramePr>
        <p:xfrm>
          <a:off x="-252536" y="1772816"/>
          <a:ext cx="5184576" cy="39604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4114800" cy="1143000"/>
          </a:xfrm>
        </p:spPr>
        <p:txBody>
          <a:bodyPr>
            <a:noAutofit/>
          </a:bodyPr>
          <a:lstStyle/>
          <a:p>
            <a:pPr algn="l"/>
            <a:r>
              <a:rPr lang="en-US" sz="3600" b="1" dirty="0" smtClean="0"/>
              <a:t>Our stakeholders</a:t>
            </a:r>
            <a:endParaRPr lang="en-US" sz="36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5165812" y="2663041"/>
            <a:ext cx="365466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keholders are expanding</a:t>
            </a:r>
          </a:p>
          <a:p>
            <a:pPr algn="ctr"/>
            <a:r>
              <a:rPr lang="en-US" sz="28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sz="2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28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pectations are shifting</a:t>
            </a:r>
            <a:endParaRPr lang="en-US" sz="2800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91280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b="1" dirty="0" smtClean="0"/>
              <a:t>Regulators</a:t>
            </a:r>
            <a:endParaRPr lang="en-US" b="1" dirty="0"/>
          </a:p>
        </p:txBody>
      </p:sp>
      <p:sp>
        <p:nvSpPr>
          <p:cNvPr id="3" name="Textfeld 1"/>
          <p:cNvSpPr txBox="1"/>
          <p:nvPr>
            <p:custDataLst>
              <p:tags r:id="rId1"/>
            </p:custDataLst>
          </p:nvPr>
        </p:nvSpPr>
        <p:spPr>
          <a:xfrm>
            <a:off x="971600" y="3552391"/>
            <a:ext cx="2808312" cy="960263"/>
          </a:xfrm>
          <a:prstGeom prst="rect">
            <a:avLst/>
          </a:prstGeom>
          <a:noFill/>
          <a:ln w="9525" cap="rnd">
            <a:noFill/>
          </a:ln>
          <a:effectLst/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 smtClean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Substantive compliance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Textfeld 1"/>
          <p:cNvSpPr txBox="1"/>
          <p:nvPr>
            <p:custDataLst>
              <p:tags r:id="rId2"/>
            </p:custDataLst>
          </p:nvPr>
        </p:nvSpPr>
        <p:spPr>
          <a:xfrm>
            <a:off x="5580112" y="3552391"/>
            <a:ext cx="2081361" cy="960263"/>
          </a:xfrm>
          <a:prstGeom prst="rect">
            <a:avLst/>
          </a:prstGeom>
          <a:noFill/>
          <a:ln w="9525" cap="rnd">
            <a:noFill/>
          </a:ln>
          <a:effectLst/>
        </p:spPr>
        <p:txBody>
          <a:bodyPr vert="horz" wrap="square" lIns="36576" tIns="36576" rIns="36576" bIns="36576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 smtClean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Shape the agenda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11" name="Group 10"/>
          <p:cNvGrpSpPr>
            <a:grpSpLocks noChangeAspect="1"/>
          </p:cNvGrpSpPr>
          <p:nvPr/>
        </p:nvGrpSpPr>
        <p:grpSpPr>
          <a:xfrm>
            <a:off x="5797832" y="2034144"/>
            <a:ext cx="1359598" cy="1359598"/>
            <a:chOff x="5273040" y="2606040"/>
            <a:chExt cx="1645920" cy="1645920"/>
          </a:xfrm>
        </p:grpSpPr>
        <p:sp>
          <p:nvSpPr>
            <p:cNvPr id="1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040" y="2606040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5546027" y="2892361"/>
              <a:ext cx="1099947" cy="1073277"/>
              <a:chOff x="5546027" y="2892361"/>
              <a:chExt cx="1099947" cy="1073277"/>
            </a:xfrm>
          </p:grpSpPr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5546027" y="2892361"/>
                <a:ext cx="1099947" cy="1073277"/>
              </a:xfrm>
              <a:custGeom>
                <a:avLst/>
                <a:gdLst>
                  <a:gd name="connsiteX0" fmla="*/ 548831 w 1099947"/>
                  <a:gd name="connsiteY0" fmla="*/ 587502 h 1073277"/>
                  <a:gd name="connsiteX1" fmla="*/ 321945 w 1099947"/>
                  <a:gd name="connsiteY1" fmla="*/ 814578 h 1073277"/>
                  <a:gd name="connsiteX2" fmla="*/ 548831 w 1099947"/>
                  <a:gd name="connsiteY2" fmla="*/ 1041654 h 1073277"/>
                  <a:gd name="connsiteX3" fmla="*/ 775716 w 1099947"/>
                  <a:gd name="connsiteY3" fmla="*/ 814578 h 1073277"/>
                  <a:gd name="connsiteX4" fmla="*/ 548831 w 1099947"/>
                  <a:gd name="connsiteY4" fmla="*/ 587502 h 1073277"/>
                  <a:gd name="connsiteX5" fmla="*/ 173614 w 1099947"/>
                  <a:gd name="connsiteY5" fmla="*/ 184404 h 1073277"/>
                  <a:gd name="connsiteX6" fmla="*/ 183616 w 1099947"/>
                  <a:gd name="connsiteY6" fmla="*/ 187977 h 1073277"/>
                  <a:gd name="connsiteX7" fmla="*/ 254348 w 1099947"/>
                  <a:gd name="connsiteY7" fmla="*/ 246568 h 1073277"/>
                  <a:gd name="connsiteX8" fmla="*/ 255062 w 1099947"/>
                  <a:gd name="connsiteY8" fmla="*/ 247283 h 1073277"/>
                  <a:gd name="connsiteX9" fmla="*/ 255777 w 1099947"/>
                  <a:gd name="connsiteY9" fmla="*/ 247283 h 1073277"/>
                  <a:gd name="connsiteX10" fmla="*/ 256491 w 1099947"/>
                  <a:gd name="connsiteY10" fmla="*/ 248712 h 1073277"/>
                  <a:gd name="connsiteX11" fmla="*/ 258635 w 1099947"/>
                  <a:gd name="connsiteY11" fmla="*/ 251570 h 1073277"/>
                  <a:gd name="connsiteX12" fmla="*/ 259349 w 1099947"/>
                  <a:gd name="connsiteY12" fmla="*/ 253713 h 1073277"/>
                  <a:gd name="connsiteX13" fmla="*/ 259349 w 1099947"/>
                  <a:gd name="connsiteY13" fmla="*/ 255142 h 1073277"/>
                  <a:gd name="connsiteX14" fmla="*/ 259349 w 1099947"/>
                  <a:gd name="connsiteY14" fmla="*/ 260859 h 1073277"/>
                  <a:gd name="connsiteX15" fmla="*/ 259349 w 1099947"/>
                  <a:gd name="connsiteY15" fmla="*/ 261573 h 1073277"/>
                  <a:gd name="connsiteX16" fmla="*/ 259349 w 1099947"/>
                  <a:gd name="connsiteY16" fmla="*/ 262288 h 1073277"/>
                  <a:gd name="connsiteX17" fmla="*/ 259349 w 1099947"/>
                  <a:gd name="connsiteY17" fmla="*/ 263717 h 1073277"/>
                  <a:gd name="connsiteX18" fmla="*/ 258635 w 1099947"/>
                  <a:gd name="connsiteY18" fmla="*/ 265146 h 1073277"/>
                  <a:gd name="connsiteX19" fmla="*/ 257920 w 1099947"/>
                  <a:gd name="connsiteY19" fmla="*/ 265860 h 1073277"/>
                  <a:gd name="connsiteX20" fmla="*/ 256491 w 1099947"/>
                  <a:gd name="connsiteY20" fmla="*/ 268004 h 1073277"/>
                  <a:gd name="connsiteX21" fmla="*/ 256491 w 1099947"/>
                  <a:gd name="connsiteY21" fmla="*/ 268719 h 1073277"/>
                  <a:gd name="connsiteX22" fmla="*/ 255777 w 1099947"/>
                  <a:gd name="connsiteY22" fmla="*/ 268719 h 1073277"/>
                  <a:gd name="connsiteX23" fmla="*/ 194333 w 1099947"/>
                  <a:gd name="connsiteY23" fmla="*/ 341600 h 1073277"/>
                  <a:gd name="connsiteX24" fmla="*/ 172185 w 1099947"/>
                  <a:gd name="connsiteY24" fmla="*/ 343744 h 1073277"/>
                  <a:gd name="connsiteX25" fmla="*/ 170042 w 1099947"/>
                  <a:gd name="connsiteY25" fmla="*/ 321594 h 1073277"/>
                  <a:gd name="connsiteX26" fmla="*/ 207193 w 1099947"/>
                  <a:gd name="connsiteY26" fmla="*/ 278007 h 1073277"/>
                  <a:gd name="connsiteX27" fmla="*/ 115743 w 1099947"/>
                  <a:gd name="connsiteY27" fmla="*/ 329453 h 1073277"/>
                  <a:gd name="connsiteX28" fmla="*/ 31436 w 1099947"/>
                  <a:gd name="connsiteY28" fmla="*/ 536666 h 1073277"/>
                  <a:gd name="connsiteX29" fmla="*/ 291500 w 1099947"/>
                  <a:gd name="connsiteY29" fmla="*/ 798184 h 1073277"/>
                  <a:gd name="connsiteX30" fmla="*/ 549419 w 1099947"/>
                  <a:gd name="connsiteY30" fmla="*/ 555959 h 1073277"/>
                  <a:gd name="connsiteX31" fmla="*/ 807339 w 1099947"/>
                  <a:gd name="connsiteY31" fmla="*/ 813903 h 1073277"/>
                  <a:gd name="connsiteX32" fmla="*/ 549419 w 1099947"/>
                  <a:gd name="connsiteY32" fmla="*/ 1073277 h 1073277"/>
                  <a:gd name="connsiteX33" fmla="*/ 291500 w 1099947"/>
                  <a:gd name="connsiteY33" fmla="*/ 829623 h 1073277"/>
                  <a:gd name="connsiteX34" fmla="*/ 0 w 1099947"/>
                  <a:gd name="connsiteY34" fmla="*/ 536666 h 1073277"/>
                  <a:gd name="connsiteX35" fmla="*/ 93594 w 1099947"/>
                  <a:gd name="connsiteY35" fmla="*/ 307303 h 1073277"/>
                  <a:gd name="connsiteX36" fmla="*/ 205764 w 1099947"/>
                  <a:gd name="connsiteY36" fmla="*/ 246568 h 1073277"/>
                  <a:gd name="connsiteX37" fmla="*/ 163612 w 1099947"/>
                  <a:gd name="connsiteY37" fmla="*/ 212271 h 1073277"/>
                  <a:gd name="connsiteX38" fmla="*/ 161468 w 1099947"/>
                  <a:gd name="connsiteY38" fmla="*/ 190120 h 1073277"/>
                  <a:gd name="connsiteX39" fmla="*/ 173614 w 1099947"/>
                  <a:gd name="connsiteY39" fmla="*/ 184404 h 1073277"/>
                  <a:gd name="connsiteX40" fmla="*/ 549212 w 1099947"/>
                  <a:gd name="connsiteY40" fmla="*/ 31623 h 1073277"/>
                  <a:gd name="connsiteX41" fmla="*/ 321945 w 1099947"/>
                  <a:gd name="connsiteY41" fmla="*/ 258699 h 1073277"/>
                  <a:gd name="connsiteX42" fmla="*/ 549212 w 1099947"/>
                  <a:gd name="connsiteY42" fmla="*/ 485775 h 1073277"/>
                  <a:gd name="connsiteX43" fmla="*/ 776478 w 1099947"/>
                  <a:gd name="connsiteY43" fmla="*/ 258699 h 1073277"/>
                  <a:gd name="connsiteX44" fmla="*/ 549212 w 1099947"/>
                  <a:gd name="connsiteY44" fmla="*/ 31623 h 1073277"/>
                  <a:gd name="connsiteX45" fmla="*/ 549261 w 1099947"/>
                  <a:gd name="connsiteY45" fmla="*/ 0 h 1073277"/>
                  <a:gd name="connsiteX46" fmla="*/ 807819 w 1099947"/>
                  <a:gd name="connsiteY46" fmla="*/ 242940 h 1073277"/>
                  <a:gd name="connsiteX47" fmla="*/ 1099947 w 1099947"/>
                  <a:gd name="connsiteY47" fmla="*/ 536611 h 1073277"/>
                  <a:gd name="connsiteX48" fmla="*/ 1005666 w 1099947"/>
                  <a:gd name="connsiteY48" fmla="*/ 765260 h 1073277"/>
                  <a:gd name="connsiteX49" fmla="*/ 893529 w 1099947"/>
                  <a:gd name="connsiteY49" fmla="*/ 825995 h 1073277"/>
                  <a:gd name="connsiteX50" fmla="*/ 935670 w 1099947"/>
                  <a:gd name="connsiteY50" fmla="*/ 860292 h 1073277"/>
                  <a:gd name="connsiteX51" fmla="*/ 937813 w 1099947"/>
                  <a:gd name="connsiteY51" fmla="*/ 883157 h 1073277"/>
                  <a:gd name="connsiteX52" fmla="*/ 925670 w 1099947"/>
                  <a:gd name="connsiteY52" fmla="*/ 888873 h 1073277"/>
                  <a:gd name="connsiteX53" fmla="*/ 915671 w 1099947"/>
                  <a:gd name="connsiteY53" fmla="*/ 885301 h 1073277"/>
                  <a:gd name="connsiteX54" fmla="*/ 844960 w 1099947"/>
                  <a:gd name="connsiteY54" fmla="*/ 825995 h 1073277"/>
                  <a:gd name="connsiteX55" fmla="*/ 843532 w 1099947"/>
                  <a:gd name="connsiteY55" fmla="*/ 825280 h 1073277"/>
                  <a:gd name="connsiteX56" fmla="*/ 842103 w 1099947"/>
                  <a:gd name="connsiteY56" fmla="*/ 823851 h 1073277"/>
                  <a:gd name="connsiteX57" fmla="*/ 840675 w 1099947"/>
                  <a:gd name="connsiteY57" fmla="*/ 820993 h 1073277"/>
                  <a:gd name="connsiteX58" fmla="*/ 839961 w 1099947"/>
                  <a:gd name="connsiteY58" fmla="*/ 818849 h 1073277"/>
                  <a:gd name="connsiteX59" fmla="*/ 839246 w 1099947"/>
                  <a:gd name="connsiteY59" fmla="*/ 817420 h 1073277"/>
                  <a:gd name="connsiteX60" fmla="*/ 839246 w 1099947"/>
                  <a:gd name="connsiteY60" fmla="*/ 811704 h 1073277"/>
                  <a:gd name="connsiteX61" fmla="*/ 839246 w 1099947"/>
                  <a:gd name="connsiteY61" fmla="*/ 810990 h 1073277"/>
                  <a:gd name="connsiteX62" fmla="*/ 839246 w 1099947"/>
                  <a:gd name="connsiteY62" fmla="*/ 810275 h 1073277"/>
                  <a:gd name="connsiteX63" fmla="*/ 839961 w 1099947"/>
                  <a:gd name="connsiteY63" fmla="*/ 808846 h 1073277"/>
                  <a:gd name="connsiteX64" fmla="*/ 840675 w 1099947"/>
                  <a:gd name="connsiteY64" fmla="*/ 807417 h 1073277"/>
                  <a:gd name="connsiteX65" fmla="*/ 840675 w 1099947"/>
                  <a:gd name="connsiteY65" fmla="*/ 806702 h 1073277"/>
                  <a:gd name="connsiteX66" fmla="*/ 842818 w 1099947"/>
                  <a:gd name="connsiteY66" fmla="*/ 804559 h 1073277"/>
                  <a:gd name="connsiteX67" fmla="*/ 842818 w 1099947"/>
                  <a:gd name="connsiteY67" fmla="*/ 803844 h 1073277"/>
                  <a:gd name="connsiteX68" fmla="*/ 905672 w 1099947"/>
                  <a:gd name="connsiteY68" fmla="*/ 730963 h 1073277"/>
                  <a:gd name="connsiteX69" fmla="*/ 927813 w 1099947"/>
                  <a:gd name="connsiteY69" fmla="*/ 728819 h 1073277"/>
                  <a:gd name="connsiteX70" fmla="*/ 929242 w 1099947"/>
                  <a:gd name="connsiteY70" fmla="*/ 750969 h 1073277"/>
                  <a:gd name="connsiteX71" fmla="*/ 892101 w 1099947"/>
                  <a:gd name="connsiteY71" fmla="*/ 794556 h 1073277"/>
                  <a:gd name="connsiteX72" fmla="*/ 983525 w 1099947"/>
                  <a:gd name="connsiteY72" fmla="*/ 743109 h 1073277"/>
                  <a:gd name="connsiteX73" fmla="*/ 1068520 w 1099947"/>
                  <a:gd name="connsiteY73" fmla="*/ 536611 h 1073277"/>
                  <a:gd name="connsiteX74" fmla="*/ 807819 w 1099947"/>
                  <a:gd name="connsiteY74" fmla="*/ 274379 h 1073277"/>
                  <a:gd name="connsiteX75" fmla="*/ 549261 w 1099947"/>
                  <a:gd name="connsiteY75" fmla="*/ 517319 h 1073277"/>
                  <a:gd name="connsiteX76" fmla="*/ 290703 w 1099947"/>
                  <a:gd name="connsiteY76" fmla="*/ 258659 h 1073277"/>
                  <a:gd name="connsiteX77" fmla="*/ 549261 w 1099947"/>
                  <a:gd name="connsiteY77" fmla="*/ 0 h 1073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099947" h="1073277">
                    <a:moveTo>
                      <a:pt x="548831" y="587502"/>
                    </a:moveTo>
                    <a:cubicBezTo>
                      <a:pt x="423525" y="587502"/>
                      <a:pt x="321945" y="689168"/>
                      <a:pt x="321945" y="814578"/>
                    </a:cubicBezTo>
                    <a:cubicBezTo>
                      <a:pt x="321945" y="939989"/>
                      <a:pt x="423525" y="1041654"/>
                      <a:pt x="548831" y="1041654"/>
                    </a:cubicBezTo>
                    <a:cubicBezTo>
                      <a:pt x="674136" y="1041654"/>
                      <a:pt x="775716" y="939989"/>
                      <a:pt x="775716" y="814578"/>
                    </a:cubicBezTo>
                    <a:cubicBezTo>
                      <a:pt x="775716" y="689168"/>
                      <a:pt x="674136" y="587502"/>
                      <a:pt x="548831" y="587502"/>
                    </a:cubicBezTo>
                    <a:close/>
                    <a:moveTo>
                      <a:pt x="173614" y="184404"/>
                    </a:moveTo>
                    <a:cubicBezTo>
                      <a:pt x="177186" y="184404"/>
                      <a:pt x="180759" y="185833"/>
                      <a:pt x="183616" y="187977"/>
                    </a:cubicBezTo>
                    <a:cubicBezTo>
                      <a:pt x="183616" y="187977"/>
                      <a:pt x="183616" y="187977"/>
                      <a:pt x="254348" y="246568"/>
                    </a:cubicBezTo>
                    <a:cubicBezTo>
                      <a:pt x="254348" y="246568"/>
                      <a:pt x="255062" y="246568"/>
                      <a:pt x="255062" y="247283"/>
                    </a:cubicBezTo>
                    <a:cubicBezTo>
                      <a:pt x="255062" y="247283"/>
                      <a:pt x="255062" y="247283"/>
                      <a:pt x="255777" y="247283"/>
                    </a:cubicBezTo>
                    <a:cubicBezTo>
                      <a:pt x="255777" y="247997"/>
                      <a:pt x="256491" y="248712"/>
                      <a:pt x="256491" y="248712"/>
                    </a:cubicBezTo>
                    <a:cubicBezTo>
                      <a:pt x="257206" y="249426"/>
                      <a:pt x="257920" y="250855"/>
                      <a:pt x="258635" y="251570"/>
                    </a:cubicBezTo>
                    <a:cubicBezTo>
                      <a:pt x="258635" y="252284"/>
                      <a:pt x="258635" y="252999"/>
                      <a:pt x="259349" y="253713"/>
                    </a:cubicBezTo>
                    <a:cubicBezTo>
                      <a:pt x="259349" y="253713"/>
                      <a:pt x="259349" y="254428"/>
                      <a:pt x="259349" y="255142"/>
                    </a:cubicBezTo>
                    <a:cubicBezTo>
                      <a:pt x="260063" y="257286"/>
                      <a:pt x="260063" y="258715"/>
                      <a:pt x="259349" y="260859"/>
                    </a:cubicBezTo>
                    <a:cubicBezTo>
                      <a:pt x="259349" y="261573"/>
                      <a:pt x="259349" y="261573"/>
                      <a:pt x="259349" y="261573"/>
                    </a:cubicBezTo>
                    <a:cubicBezTo>
                      <a:pt x="259349" y="262288"/>
                      <a:pt x="259349" y="262288"/>
                      <a:pt x="259349" y="262288"/>
                    </a:cubicBezTo>
                    <a:cubicBezTo>
                      <a:pt x="259349" y="263002"/>
                      <a:pt x="259349" y="263002"/>
                      <a:pt x="259349" y="263717"/>
                    </a:cubicBezTo>
                    <a:cubicBezTo>
                      <a:pt x="258635" y="263717"/>
                      <a:pt x="258635" y="264431"/>
                      <a:pt x="258635" y="265146"/>
                    </a:cubicBezTo>
                    <a:cubicBezTo>
                      <a:pt x="258635" y="265146"/>
                      <a:pt x="257920" y="265146"/>
                      <a:pt x="257920" y="265860"/>
                    </a:cubicBezTo>
                    <a:cubicBezTo>
                      <a:pt x="257920" y="266575"/>
                      <a:pt x="257206" y="267289"/>
                      <a:pt x="256491" y="268004"/>
                    </a:cubicBezTo>
                    <a:cubicBezTo>
                      <a:pt x="256491" y="268719"/>
                      <a:pt x="256491" y="268719"/>
                      <a:pt x="256491" y="268719"/>
                    </a:cubicBezTo>
                    <a:cubicBezTo>
                      <a:pt x="256491" y="268719"/>
                      <a:pt x="256491" y="268719"/>
                      <a:pt x="255777" y="268719"/>
                    </a:cubicBezTo>
                    <a:cubicBezTo>
                      <a:pt x="255777" y="268719"/>
                      <a:pt x="255777" y="268719"/>
                      <a:pt x="194333" y="341600"/>
                    </a:cubicBezTo>
                    <a:cubicBezTo>
                      <a:pt x="188618" y="348031"/>
                      <a:pt x="178615" y="348746"/>
                      <a:pt x="172185" y="343744"/>
                    </a:cubicBezTo>
                    <a:cubicBezTo>
                      <a:pt x="165040" y="338028"/>
                      <a:pt x="164326" y="328024"/>
                      <a:pt x="170042" y="321594"/>
                    </a:cubicBezTo>
                    <a:cubicBezTo>
                      <a:pt x="170042" y="321594"/>
                      <a:pt x="170042" y="321594"/>
                      <a:pt x="207193" y="278007"/>
                    </a:cubicBezTo>
                    <a:cubicBezTo>
                      <a:pt x="173614" y="285153"/>
                      <a:pt x="142892" y="302301"/>
                      <a:pt x="115743" y="329453"/>
                    </a:cubicBezTo>
                    <a:cubicBezTo>
                      <a:pt x="57157" y="388045"/>
                      <a:pt x="31436" y="475932"/>
                      <a:pt x="31436" y="536666"/>
                    </a:cubicBezTo>
                    <a:cubicBezTo>
                      <a:pt x="31436" y="681001"/>
                      <a:pt x="147893" y="798184"/>
                      <a:pt x="291500" y="798184"/>
                    </a:cubicBezTo>
                    <a:cubicBezTo>
                      <a:pt x="299359" y="663138"/>
                      <a:pt x="412243" y="555959"/>
                      <a:pt x="549419" y="555959"/>
                    </a:cubicBezTo>
                    <a:cubicBezTo>
                      <a:pt x="691597" y="555959"/>
                      <a:pt x="807339" y="671712"/>
                      <a:pt x="807339" y="813903"/>
                    </a:cubicBezTo>
                    <a:cubicBezTo>
                      <a:pt x="807339" y="956809"/>
                      <a:pt x="691597" y="1073277"/>
                      <a:pt x="549419" y="1073277"/>
                    </a:cubicBezTo>
                    <a:cubicBezTo>
                      <a:pt x="412243" y="1073277"/>
                      <a:pt x="299359" y="965383"/>
                      <a:pt x="291500" y="829623"/>
                    </a:cubicBezTo>
                    <a:cubicBezTo>
                      <a:pt x="130746" y="829623"/>
                      <a:pt x="0" y="698150"/>
                      <a:pt x="0" y="536666"/>
                    </a:cubicBezTo>
                    <a:cubicBezTo>
                      <a:pt x="0" y="455210"/>
                      <a:pt x="37152" y="363751"/>
                      <a:pt x="93594" y="307303"/>
                    </a:cubicBezTo>
                    <a:cubicBezTo>
                      <a:pt x="126460" y="275149"/>
                      <a:pt x="164326" y="254428"/>
                      <a:pt x="205764" y="246568"/>
                    </a:cubicBezTo>
                    <a:cubicBezTo>
                      <a:pt x="205764" y="246568"/>
                      <a:pt x="205764" y="246568"/>
                      <a:pt x="163612" y="212271"/>
                    </a:cubicBezTo>
                    <a:cubicBezTo>
                      <a:pt x="157181" y="206554"/>
                      <a:pt x="155753" y="196551"/>
                      <a:pt x="161468" y="190120"/>
                    </a:cubicBezTo>
                    <a:cubicBezTo>
                      <a:pt x="164326" y="186548"/>
                      <a:pt x="169327" y="184404"/>
                      <a:pt x="173614" y="184404"/>
                    </a:cubicBezTo>
                    <a:close/>
                    <a:moveTo>
                      <a:pt x="549212" y="31623"/>
                    </a:moveTo>
                    <a:cubicBezTo>
                      <a:pt x="423696" y="31623"/>
                      <a:pt x="321945" y="133288"/>
                      <a:pt x="321945" y="258699"/>
                    </a:cubicBezTo>
                    <a:cubicBezTo>
                      <a:pt x="321945" y="384110"/>
                      <a:pt x="423696" y="485775"/>
                      <a:pt x="549212" y="485775"/>
                    </a:cubicBezTo>
                    <a:cubicBezTo>
                      <a:pt x="674728" y="485775"/>
                      <a:pt x="776478" y="384110"/>
                      <a:pt x="776478" y="258699"/>
                    </a:cubicBezTo>
                    <a:cubicBezTo>
                      <a:pt x="776478" y="133288"/>
                      <a:pt x="674728" y="31623"/>
                      <a:pt x="549212" y="31623"/>
                    </a:cubicBezTo>
                    <a:close/>
                    <a:moveTo>
                      <a:pt x="549261" y="0"/>
                    </a:moveTo>
                    <a:cubicBezTo>
                      <a:pt x="686397" y="0"/>
                      <a:pt x="799249" y="107179"/>
                      <a:pt x="807819" y="242940"/>
                    </a:cubicBezTo>
                    <a:cubicBezTo>
                      <a:pt x="968525" y="242940"/>
                      <a:pt x="1099947" y="375128"/>
                      <a:pt x="1099947" y="536611"/>
                    </a:cubicBezTo>
                    <a:cubicBezTo>
                      <a:pt x="1099947" y="617353"/>
                      <a:pt x="1062092" y="708812"/>
                      <a:pt x="1005666" y="765260"/>
                    </a:cubicBezTo>
                    <a:cubicBezTo>
                      <a:pt x="973525" y="797413"/>
                      <a:pt x="934956" y="818135"/>
                      <a:pt x="893529" y="825995"/>
                    </a:cubicBezTo>
                    <a:cubicBezTo>
                      <a:pt x="893529" y="825995"/>
                      <a:pt x="893529" y="825995"/>
                      <a:pt x="935670" y="860292"/>
                    </a:cubicBezTo>
                    <a:cubicBezTo>
                      <a:pt x="942812" y="866008"/>
                      <a:pt x="943527" y="876726"/>
                      <a:pt x="937813" y="883157"/>
                    </a:cubicBezTo>
                    <a:cubicBezTo>
                      <a:pt x="934956" y="886730"/>
                      <a:pt x="930670" y="888873"/>
                      <a:pt x="925670" y="888873"/>
                    </a:cubicBezTo>
                    <a:cubicBezTo>
                      <a:pt x="922099" y="888873"/>
                      <a:pt x="918528" y="887444"/>
                      <a:pt x="915671" y="885301"/>
                    </a:cubicBezTo>
                    <a:cubicBezTo>
                      <a:pt x="915671" y="885301"/>
                      <a:pt x="915671" y="885301"/>
                      <a:pt x="844960" y="825995"/>
                    </a:cubicBezTo>
                    <a:cubicBezTo>
                      <a:pt x="844246" y="825995"/>
                      <a:pt x="844246" y="825995"/>
                      <a:pt x="843532" y="825280"/>
                    </a:cubicBezTo>
                    <a:cubicBezTo>
                      <a:pt x="842818" y="824566"/>
                      <a:pt x="842818" y="823851"/>
                      <a:pt x="842103" y="823851"/>
                    </a:cubicBezTo>
                    <a:cubicBezTo>
                      <a:pt x="841389" y="823137"/>
                      <a:pt x="840675" y="821707"/>
                      <a:pt x="840675" y="820993"/>
                    </a:cubicBezTo>
                    <a:cubicBezTo>
                      <a:pt x="839961" y="820279"/>
                      <a:pt x="839961" y="819564"/>
                      <a:pt x="839961" y="818849"/>
                    </a:cubicBezTo>
                    <a:cubicBezTo>
                      <a:pt x="839246" y="818849"/>
                      <a:pt x="839246" y="818135"/>
                      <a:pt x="839246" y="817420"/>
                    </a:cubicBezTo>
                    <a:cubicBezTo>
                      <a:pt x="839246" y="815277"/>
                      <a:pt x="838532" y="813848"/>
                      <a:pt x="839246" y="811704"/>
                    </a:cubicBezTo>
                    <a:cubicBezTo>
                      <a:pt x="839246" y="810990"/>
                      <a:pt x="839246" y="810990"/>
                      <a:pt x="839246" y="810990"/>
                    </a:cubicBezTo>
                    <a:cubicBezTo>
                      <a:pt x="839246" y="810275"/>
                      <a:pt x="839246" y="810275"/>
                      <a:pt x="839246" y="810275"/>
                    </a:cubicBezTo>
                    <a:cubicBezTo>
                      <a:pt x="839961" y="809561"/>
                      <a:pt x="839961" y="809561"/>
                      <a:pt x="839961" y="808846"/>
                    </a:cubicBezTo>
                    <a:cubicBezTo>
                      <a:pt x="839961" y="808846"/>
                      <a:pt x="839961" y="808131"/>
                      <a:pt x="840675" y="807417"/>
                    </a:cubicBezTo>
                    <a:cubicBezTo>
                      <a:pt x="840675" y="807417"/>
                      <a:pt x="840675" y="807417"/>
                      <a:pt x="840675" y="806702"/>
                    </a:cubicBezTo>
                    <a:cubicBezTo>
                      <a:pt x="841389" y="805988"/>
                      <a:pt x="842103" y="805273"/>
                      <a:pt x="842818" y="804559"/>
                    </a:cubicBezTo>
                    <a:cubicBezTo>
                      <a:pt x="842818" y="803844"/>
                      <a:pt x="842818" y="803844"/>
                      <a:pt x="842818" y="803844"/>
                    </a:cubicBezTo>
                    <a:cubicBezTo>
                      <a:pt x="842818" y="803844"/>
                      <a:pt x="842818" y="803844"/>
                      <a:pt x="905672" y="730963"/>
                    </a:cubicBezTo>
                    <a:cubicBezTo>
                      <a:pt x="911385" y="724532"/>
                      <a:pt x="921385" y="723817"/>
                      <a:pt x="927813" y="728819"/>
                    </a:cubicBezTo>
                    <a:cubicBezTo>
                      <a:pt x="934242" y="734535"/>
                      <a:pt x="934956" y="744539"/>
                      <a:pt x="929242" y="750969"/>
                    </a:cubicBezTo>
                    <a:cubicBezTo>
                      <a:pt x="929242" y="750969"/>
                      <a:pt x="929242" y="750969"/>
                      <a:pt x="892101" y="794556"/>
                    </a:cubicBezTo>
                    <a:cubicBezTo>
                      <a:pt x="925670" y="787410"/>
                      <a:pt x="956383" y="770262"/>
                      <a:pt x="983525" y="743109"/>
                    </a:cubicBezTo>
                    <a:cubicBezTo>
                      <a:pt x="1042093" y="684518"/>
                      <a:pt x="1068520" y="597346"/>
                      <a:pt x="1068520" y="536611"/>
                    </a:cubicBezTo>
                    <a:cubicBezTo>
                      <a:pt x="1068520" y="392276"/>
                      <a:pt x="951383" y="274379"/>
                      <a:pt x="807819" y="274379"/>
                    </a:cubicBezTo>
                    <a:cubicBezTo>
                      <a:pt x="799249" y="410139"/>
                      <a:pt x="686397" y="517319"/>
                      <a:pt x="549261" y="517319"/>
                    </a:cubicBezTo>
                    <a:cubicBezTo>
                      <a:pt x="406412" y="517319"/>
                      <a:pt x="290703" y="401565"/>
                      <a:pt x="290703" y="258659"/>
                    </a:cubicBezTo>
                    <a:cubicBezTo>
                      <a:pt x="290703" y="115754"/>
                      <a:pt x="406412" y="0"/>
                      <a:pt x="54926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9"/>
              <p:cNvSpPr>
                <a:spLocks noEditPoints="1"/>
              </p:cNvSpPr>
              <p:nvPr/>
            </p:nvSpPr>
            <p:spPr bwMode="auto">
              <a:xfrm>
                <a:off x="5891594" y="2947606"/>
                <a:ext cx="408813" cy="962787"/>
              </a:xfrm>
              <a:custGeom>
                <a:avLst/>
                <a:gdLst>
                  <a:gd name="T0" fmla="*/ 286 w 572"/>
                  <a:gd name="T1" fmla="*/ 777 h 1348"/>
                  <a:gd name="T2" fmla="*/ 572 w 572"/>
                  <a:gd name="T3" fmla="*/ 1062 h 1348"/>
                  <a:gd name="T4" fmla="*/ 286 w 572"/>
                  <a:gd name="T5" fmla="*/ 1348 h 1348"/>
                  <a:gd name="T6" fmla="*/ 0 w 572"/>
                  <a:gd name="T7" fmla="*/ 1062 h 1348"/>
                  <a:gd name="T8" fmla="*/ 286 w 572"/>
                  <a:gd name="T9" fmla="*/ 777 h 1348"/>
                  <a:gd name="T10" fmla="*/ 286 w 572"/>
                  <a:gd name="T11" fmla="*/ 0 h 1348"/>
                  <a:gd name="T12" fmla="*/ 572 w 572"/>
                  <a:gd name="T13" fmla="*/ 286 h 1348"/>
                  <a:gd name="T14" fmla="*/ 286 w 572"/>
                  <a:gd name="T15" fmla="*/ 573 h 1348"/>
                  <a:gd name="T16" fmla="*/ 0 w 572"/>
                  <a:gd name="T17" fmla="*/ 286 h 1348"/>
                  <a:gd name="T18" fmla="*/ 286 w 572"/>
                  <a:gd name="T19" fmla="*/ 0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2" h="1348">
                    <a:moveTo>
                      <a:pt x="286" y="777"/>
                    </a:moveTo>
                    <a:cubicBezTo>
                      <a:pt x="444" y="777"/>
                      <a:pt x="572" y="905"/>
                      <a:pt x="572" y="1062"/>
                    </a:cubicBezTo>
                    <a:cubicBezTo>
                      <a:pt x="572" y="1220"/>
                      <a:pt x="444" y="1348"/>
                      <a:pt x="286" y="1348"/>
                    </a:cubicBezTo>
                    <a:cubicBezTo>
                      <a:pt x="128" y="1348"/>
                      <a:pt x="0" y="1220"/>
                      <a:pt x="0" y="1062"/>
                    </a:cubicBezTo>
                    <a:cubicBezTo>
                      <a:pt x="0" y="905"/>
                      <a:pt x="128" y="777"/>
                      <a:pt x="286" y="777"/>
                    </a:cubicBezTo>
                    <a:close/>
                    <a:moveTo>
                      <a:pt x="286" y="0"/>
                    </a:moveTo>
                    <a:cubicBezTo>
                      <a:pt x="444" y="0"/>
                      <a:pt x="572" y="128"/>
                      <a:pt x="572" y="286"/>
                    </a:cubicBezTo>
                    <a:cubicBezTo>
                      <a:pt x="572" y="444"/>
                      <a:pt x="444" y="573"/>
                      <a:pt x="286" y="573"/>
                    </a:cubicBezTo>
                    <a:cubicBezTo>
                      <a:pt x="128" y="573"/>
                      <a:pt x="0" y="444"/>
                      <a:pt x="0" y="286"/>
                    </a:cubicBezTo>
                    <a:cubicBezTo>
                      <a:pt x="0" y="128"/>
                      <a:pt x="128" y="0"/>
                      <a:pt x="28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557220" y="2110175"/>
            <a:ext cx="1266421" cy="1267595"/>
            <a:chOff x="5273801" y="2606040"/>
            <a:chExt cx="1644396" cy="1645920"/>
          </a:xfrm>
        </p:grpSpPr>
        <p:sp>
          <p:nvSpPr>
            <p:cNvPr id="17" name="AutoShape 18">
              <a:extLst>
                <a:ext uri="{FF2B5EF4-FFF2-40B4-BE49-F238E27FC236}">
                  <a16:creationId xmlns="" xmlns:a16="http://schemas.microsoft.com/office/drawing/2014/main" id="{5381C2E6-C0A5-47CA-9FE1-1E79D784DA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5470016" y="2869692"/>
              <a:ext cx="1346835" cy="1297305"/>
              <a:chOff x="5470016" y="2869692"/>
              <a:chExt cx="1346835" cy="1297305"/>
            </a:xfrm>
          </p:grpSpPr>
          <p:sp>
            <p:nvSpPr>
              <p:cNvPr id="19" name="Freeform 20">
                <a:extLst>
                  <a:ext uri="{FF2B5EF4-FFF2-40B4-BE49-F238E27FC236}">
                    <a16:creationId xmlns="" xmlns:a16="http://schemas.microsoft.com/office/drawing/2014/main" id="{BDC0EBF9-E3A7-42FA-B170-D0CF0542B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2881" y="3050286"/>
                <a:ext cx="1049274" cy="72428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1">
                <a:extLst>
                  <a:ext uri="{FF2B5EF4-FFF2-40B4-BE49-F238E27FC236}">
                    <a16:creationId xmlns="" xmlns:a16="http://schemas.microsoft.com/office/drawing/2014/main" id="{F9EEAED7-4FFF-4707-B9E4-EC0C5FA18C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0016" y="2869692"/>
                <a:ext cx="1346835" cy="12973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21" name="Textfeld 1"/>
          <p:cNvSpPr txBox="1"/>
          <p:nvPr>
            <p:custDataLst>
              <p:tags r:id="rId3"/>
            </p:custDataLst>
          </p:nvPr>
        </p:nvSpPr>
        <p:spPr>
          <a:xfrm>
            <a:off x="755576" y="4967995"/>
            <a:ext cx="3528392" cy="738664"/>
          </a:xfrm>
          <a:prstGeom prst="rect">
            <a:avLst/>
          </a:prstGeom>
          <a:noFill/>
          <a:ln w="9525" cap="rnd">
            <a:noFill/>
          </a:ln>
          <a:effectLst/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i="1" dirty="0" smtClean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Follow spirit of law, not letter of law</a:t>
            </a:r>
            <a:endParaRPr lang="en-US" sz="2400" i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Textfeld 1"/>
          <p:cNvSpPr txBox="1"/>
          <p:nvPr>
            <p:custDataLst>
              <p:tags r:id="rId4"/>
            </p:custDataLst>
          </p:nvPr>
        </p:nvSpPr>
        <p:spPr>
          <a:xfrm>
            <a:off x="5127550" y="4967995"/>
            <a:ext cx="3836938" cy="1557349"/>
          </a:xfrm>
          <a:prstGeom prst="rect">
            <a:avLst/>
          </a:prstGeom>
          <a:noFill/>
          <a:ln w="9525" cap="rnd">
            <a:noFill/>
          </a:ln>
          <a:effectLst/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i="1" dirty="0" smtClean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Proactively shape policies &amp; future regulation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i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i="1" dirty="0" smtClean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Seat at the table</a:t>
            </a:r>
            <a:endParaRPr lang="en-US" sz="2400" i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4572000" y="1772816"/>
            <a:ext cx="0" cy="46805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77880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b="1" dirty="0" smtClean="0"/>
              <a:t>Board and Management</a:t>
            </a:r>
            <a:endParaRPr lang="en-US" b="1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2204864"/>
            <a:ext cx="8363272" cy="3921299"/>
          </a:xfrm>
          <a:prstGeom prst="rect">
            <a:avLst/>
          </a:prstGeom>
        </p:spPr>
        <p:txBody>
          <a:bodyPr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From '</a:t>
            </a:r>
            <a:r>
              <a:rPr lang="en-IN" sz="28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compliance focus</a:t>
            </a: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' to '</a:t>
            </a:r>
            <a:r>
              <a:rPr lang="en-IN" sz="2800" b="1" dirty="0" smtClean="0">
                <a:solidFill>
                  <a:srgbClr val="00B050"/>
                </a:solidFill>
              </a:rPr>
              <a:t>value creation</a:t>
            </a: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'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800" b="1" dirty="0" smtClean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8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From '</a:t>
            </a:r>
            <a:r>
              <a:rPr lang="en-IN" sz="28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supporting</a:t>
            </a: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' to '</a:t>
            </a:r>
            <a:r>
              <a:rPr lang="en-IN" sz="2800" b="1" dirty="0" smtClean="0">
                <a:solidFill>
                  <a:srgbClr val="00B050"/>
                </a:solidFill>
              </a:rPr>
              <a:t>enabling the board</a:t>
            </a: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'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8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800" b="1" dirty="0" smtClean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From '</a:t>
            </a:r>
            <a:r>
              <a:rPr lang="en-IN" sz="28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facilitator</a:t>
            </a: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' to '</a:t>
            </a:r>
            <a:r>
              <a:rPr lang="en-IN" sz="2800" b="1" dirty="0" smtClean="0">
                <a:solidFill>
                  <a:srgbClr val="00B050"/>
                </a:solidFill>
              </a:rPr>
              <a:t>champion of corporate governance</a:t>
            </a: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'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8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b="1" dirty="0" smtClean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74323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385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3826768" cy="1143000"/>
          </a:xfrm>
        </p:spPr>
        <p:txBody>
          <a:bodyPr/>
          <a:lstStyle/>
          <a:p>
            <a:pPr algn="l"/>
            <a:r>
              <a:rPr lang="en-US" b="1" dirty="0" smtClean="0"/>
              <a:t>Enterprise's stakeholders</a:t>
            </a:r>
            <a:endParaRPr lang="en-US" b="1" dirty="0"/>
          </a:p>
        </p:txBody>
      </p:sp>
      <p:sp>
        <p:nvSpPr>
          <p:cNvPr id="4" name="Rectangle 3"/>
          <p:cNvSpPr/>
          <p:nvPr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5004048" y="2204865"/>
            <a:ext cx="3816424" cy="3024336"/>
          </a:xfrm>
          <a:prstGeom prst="rect">
            <a:avLst/>
          </a:prstGeom>
        </p:spPr>
        <p:txBody>
          <a:bodyPr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3600" b="1" dirty="0" smtClean="0">
                <a:solidFill>
                  <a:schemeClr val="bg1"/>
                </a:solidFill>
              </a:rPr>
              <a:t>You are the Conscience keeper</a:t>
            </a:r>
            <a:endParaRPr lang="en-IN" sz="4000" b="1" dirty="0" smtClean="0">
              <a:solidFill>
                <a:schemeClr val="bg1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57200" y="2204864"/>
            <a:ext cx="3791272" cy="3921299"/>
          </a:xfrm>
          <a:prstGeom prst="rect">
            <a:avLst/>
          </a:prstGeom>
        </p:spPr>
        <p:txBody>
          <a:bodyPr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400" b="1" dirty="0" smtClean="0">
                <a:solidFill>
                  <a:schemeClr val="tx1">
                    <a:lumMod val="100000"/>
                  </a:schemeClr>
                </a:solidFill>
              </a:rPr>
              <a:t>Investors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4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400" b="1" dirty="0" smtClean="0">
                <a:solidFill>
                  <a:schemeClr val="tx1">
                    <a:lumMod val="100000"/>
                  </a:schemeClr>
                </a:solidFill>
              </a:rPr>
              <a:t>Employees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4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400" b="1" dirty="0" smtClean="0">
                <a:solidFill>
                  <a:schemeClr val="tx1">
                    <a:lumMod val="100000"/>
                  </a:schemeClr>
                </a:solidFill>
              </a:rPr>
              <a:t>Customers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400" b="1" dirty="0" smtClean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400" b="1" dirty="0" smtClean="0">
                <a:solidFill>
                  <a:schemeClr val="tx1">
                    <a:lumMod val="100000"/>
                  </a:schemeClr>
                </a:solidFill>
              </a:rPr>
              <a:t>Business partners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4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400" b="1" dirty="0">
                <a:solidFill>
                  <a:schemeClr val="tx1">
                    <a:lumMod val="100000"/>
                  </a:schemeClr>
                </a:solidFill>
              </a:rPr>
              <a:t>Social community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400" b="1" dirty="0" smtClean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400" b="1" dirty="0" smtClean="0">
                <a:solidFill>
                  <a:schemeClr val="tx1">
                    <a:lumMod val="100000"/>
                  </a:schemeClr>
                </a:solidFill>
              </a:rPr>
              <a:t>Government</a:t>
            </a:r>
            <a:endParaRPr lang="en-IN" sz="24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800" b="1" dirty="0" smtClean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4127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13792"/>
            <a:ext cx="8229600" cy="1143000"/>
          </a:xfrm>
        </p:spPr>
        <p:txBody>
          <a:bodyPr/>
          <a:lstStyle/>
          <a:p>
            <a:pPr algn="l"/>
            <a:r>
              <a:rPr lang="en-US" b="1" dirty="0" smtClean="0"/>
              <a:t>Journey is complex but worth </a:t>
            </a:r>
            <a:r>
              <a:rPr lang="en-US" b="1" smtClean="0"/>
              <a:t>the effort</a:t>
            </a:r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539552" y="2316013"/>
            <a:ext cx="7895728" cy="3921299"/>
          </a:xfrm>
          <a:prstGeom prst="rect">
            <a:avLst/>
          </a:prstGeom>
        </p:spPr>
        <p:txBody>
          <a:bodyPr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Develop singular sense of purpose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8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Build consensus, make your presence felt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8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Learn &amp; share – best practices &amp; experiences</a:t>
            </a: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sz="28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IN" sz="2800" b="1" dirty="0" smtClean="0">
                <a:solidFill>
                  <a:schemeClr val="tx1">
                    <a:lumMod val="100000"/>
                  </a:schemeClr>
                </a:solidFill>
              </a:rPr>
              <a:t>Connect with your community – local and global</a:t>
            </a:r>
            <a:endParaRPr lang="en-IN" sz="2800" b="1" dirty="0">
              <a:solidFill>
                <a:schemeClr val="tx1">
                  <a:lumMod val="100000"/>
                </a:schemeClr>
              </a:solidFill>
            </a:endParaRPr>
          </a:p>
          <a:p>
            <a:pPr marL="0" indent="0"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</a:pPr>
            <a:endParaRPr lang="en-IN" b="1" dirty="0" smtClean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03827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eople-holding-hands-around-the-world-md.png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1560" y="2348880"/>
            <a:ext cx="3600400" cy="36004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IN" b="1" dirty="0" smtClean="0"/>
              <a:t>Last but not the least ...</a:t>
            </a:r>
            <a:endParaRPr lang="en-IN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4417640" y="3140968"/>
            <a:ext cx="43308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We are each others stakeholders!!</a:t>
            </a:r>
            <a:endParaRPr lang="en-IN" sz="40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08DA4-85A3-4F6D-BCC4-A776B2A7B8DD}" type="slidenum">
              <a:rPr lang="en-IN" smtClean="0"/>
              <a:pPr/>
              <a:t>9</a:t>
            </a:fld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fbcd015-fbac-494c-bcad-77fcf24a62f5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194</Words>
  <Application>Microsoft Office PowerPoint</Application>
  <PresentationFormat>On-screen Show (4:3)</PresentationFormat>
  <Paragraphs>78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PowerPoint Presentation</vt:lpstr>
      <vt:lpstr>PowerPoint Presentation</vt:lpstr>
      <vt:lpstr>Our role is evolving</vt:lpstr>
      <vt:lpstr>Our stakeholders</vt:lpstr>
      <vt:lpstr>Regulators</vt:lpstr>
      <vt:lpstr>Board and Management</vt:lpstr>
      <vt:lpstr>Enterprise's stakeholders</vt:lpstr>
      <vt:lpstr>Journey is complex but worth the effort</vt:lpstr>
      <vt:lpstr>Last but not the least ...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nika Kastia</dc:creator>
  <cp:lastModifiedBy>LAPTOP05</cp:lastModifiedBy>
  <cp:revision>38</cp:revision>
  <dcterms:created xsi:type="dcterms:W3CDTF">2018-08-29T08:25:06Z</dcterms:created>
  <dcterms:modified xsi:type="dcterms:W3CDTF">2018-08-31T04:25:08Z</dcterms:modified>
</cp:coreProperties>
</file>